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3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35-4B8C-8C51-D10FD6567D5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35-4B8C-8C51-D10FD6567D5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35-4B8C-8C51-D10FD6567D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6D41DF-5963-6C99-6985-707191EC79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BDC9916-A42F-2A91-B6AB-1BFC99CDD6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738266-059B-1381-1A17-68901B34DD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77388B-1498-985E-FA05-6154A3D037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1762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BFACB0-45E8-D135-7A90-4830543F15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EB77A-50A4-9EFC-DC54-21A616EF0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EB77A-50A4-9EFC-DC54-21A616EF0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55B5CAC1-E91E-FC35-E276-F0FAB68AC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100% Stacked Column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463C90E-E86B-7ADA-0EE8-1B2A5356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12498A6D-8C77-3322-D916-E42DBAD8AD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0493DCB-8340-A245-6A87-F19FF6312B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DAC07D35-6AC6-EC6D-87F4-3395A3B277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FFDCA542-9251-AC2F-464D-15AFBD7DA2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8280B1DC-0F12-DDF0-89B5-EBC8D0F91490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7015162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31582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7</TotalTime>
  <Words>89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100% Stacked Column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76</cp:revision>
  <dcterms:created xsi:type="dcterms:W3CDTF">2025-07-09T10:57:17Z</dcterms:created>
  <dcterms:modified xsi:type="dcterms:W3CDTF">2025-10-22T09:52:28Z</dcterms:modified>
  <cp:category/>
</cp:coreProperties>
</file>